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60" r:id="rId1"/>
  </p:sldMasterIdLst>
  <p:notesMasterIdLst>
    <p:notesMasterId r:id="rId4"/>
  </p:notesMasterIdLst>
  <p:sldIdLst>
    <p:sldId id="256" r:id="rId2"/>
    <p:sldId id="792" r:id="rId3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542" autoAdjust="0"/>
  </p:normalViewPr>
  <p:slideViewPr>
    <p:cSldViewPr>
      <p:cViewPr varScale="1">
        <p:scale>
          <a:sx n="80" d="100"/>
          <a:sy n="80" d="100"/>
        </p:scale>
        <p:origin x="246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12" y="2162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F6E768E-ACA0-4E54-A5F7-93E9155080EC}" type="datetimeFigureOut">
              <a:rPr lang="en-US" smtClean="0"/>
              <a:pPr/>
              <a:t>8/2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31D1FAAF-5112-4019-AE1B-8F9358F826E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087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D1FAAF-5112-4019-AE1B-8F9358F826E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088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42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  <p:sp>
        <p:nvSpPr>
          <p:cNvPr id="9011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65EED22-1596-4D14-A581-2784A47F51EC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6521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B7CD9-CCAC-4B68-AEBB-E8BA8772FE83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nterpriseforc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1084"/>
          <p:cNvSpPr>
            <a:spLocks noChangeArrowheads="1"/>
          </p:cNvSpPr>
          <p:nvPr userDrawn="1"/>
        </p:nvSpPr>
        <p:spPr bwMode="auto">
          <a:xfrm>
            <a:off x="0" y="6248400"/>
            <a:ext cx="8961438" cy="42862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E5A5B-0157-40C2-BE08-2B6863A4DB6D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nterpriseforc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FE864-F82C-4C37-8D31-1E483E0879C9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nterpriseforc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C8334-754D-475E-8DC3-A41E390E6797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nterpriseforc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1084"/>
          <p:cNvSpPr>
            <a:spLocks noChangeArrowheads="1"/>
          </p:cNvSpPr>
          <p:nvPr userDrawn="1"/>
        </p:nvSpPr>
        <p:spPr bwMode="auto">
          <a:xfrm>
            <a:off x="0" y="6248400"/>
            <a:ext cx="8961438" cy="42862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627CB-F3C8-40F7-BEFE-F0A5058302BA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nterpriseforc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07DDD-5FDC-43D8-9DD6-9B979F404E8E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nterpriseforc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9E97FF-A73D-4C91-BC01-BD911371988D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nterpriseforce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4223D-DBA9-47A9-AB3B-803DBACE8935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LogisticsNow</a:t>
            </a:r>
            <a:r>
              <a:rPr lang="en-US" dirty="0"/>
              <a:t>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1084"/>
          <p:cNvSpPr>
            <a:spLocks noChangeArrowheads="1"/>
          </p:cNvSpPr>
          <p:nvPr userDrawn="1"/>
        </p:nvSpPr>
        <p:spPr bwMode="auto">
          <a:xfrm>
            <a:off x="0" y="6248400"/>
            <a:ext cx="8961438" cy="42862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C1844-8013-4F50-B1A7-7A20D21E8B4B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nterpriseforce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4F2BF-44B1-4001-83D4-8E3FD76D8A65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nterpriseforc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BE937-8959-4351-8DF9-94EDB2C895F7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nterpriseforce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74DF63-9899-4E96-B7F7-7B570F8BBB14}" type="datetime1">
              <a:rPr lang="en-US" smtClean="0"/>
              <a:t>8/2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Enterpriseforc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E66ED8-80E0-4C35-B7DE-ED6825520C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C0B27210-D0CA-4654-B3E3-9ABB4F178E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McK Da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59971" y="1783959"/>
            <a:ext cx="3483937" cy="255944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SzPct val="120000"/>
            </a:pPr>
            <a:r>
              <a:rPr lang="en-US" sz="4700" b="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Data Visualization Dashboard</a:t>
            </a: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1DB7C82F-AB7E-4F0C-B829-FA1B9C4151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4629586" cy="6858000"/>
          </a:xfrm>
          <a:custGeom>
            <a:avLst/>
            <a:gdLst>
              <a:gd name="connsiteX0" fmla="*/ 6172782 w 6172782"/>
              <a:gd name="connsiteY0" fmla="*/ 0 h 6858000"/>
              <a:gd name="connsiteX1" fmla="*/ 69075 w 6172782"/>
              <a:gd name="connsiteY1" fmla="*/ 0 h 6858000"/>
              <a:gd name="connsiteX2" fmla="*/ 35131 w 6172782"/>
              <a:gd name="connsiteY2" fmla="*/ 267128 h 6858000"/>
              <a:gd name="connsiteX3" fmla="*/ 0 w 6172782"/>
              <a:gd name="connsiteY3" fmla="*/ 962845 h 6858000"/>
              <a:gd name="connsiteX4" fmla="*/ 3276103 w 6172782"/>
              <a:gd name="connsiteY4" fmla="*/ 6782205 h 6858000"/>
              <a:gd name="connsiteX5" fmla="*/ 3407923 w 6172782"/>
              <a:gd name="connsiteY5" fmla="*/ 6858000 h 6858000"/>
              <a:gd name="connsiteX6" fmla="*/ 6172782 w 617278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72782" h="6858000">
                <a:moveTo>
                  <a:pt x="6172782" y="0"/>
                </a:moveTo>
                <a:lnTo>
                  <a:pt x="69075" y="0"/>
                </a:lnTo>
                <a:lnTo>
                  <a:pt x="35131" y="267128"/>
                </a:lnTo>
                <a:cubicBezTo>
                  <a:pt x="11901" y="495874"/>
                  <a:pt x="0" y="727970"/>
                  <a:pt x="0" y="962845"/>
                </a:cubicBezTo>
                <a:cubicBezTo>
                  <a:pt x="0" y="3429034"/>
                  <a:pt x="1312002" y="5588789"/>
                  <a:pt x="3276103" y="6782205"/>
                </a:cubicBezTo>
                <a:lnTo>
                  <a:pt x="3407923" y="6858000"/>
                </a:lnTo>
                <a:lnTo>
                  <a:pt x="6172782" y="685800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Freeform: Shape 45">
            <a:extLst>
              <a:ext uri="{FF2B5EF4-FFF2-40B4-BE49-F238E27FC236}">
                <a16:creationId xmlns:a16="http://schemas.microsoft.com/office/drawing/2014/main" id="{70B66945-4967-4040-926D-DCA44313CD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518115" cy="6858000"/>
          </a:xfrm>
          <a:custGeom>
            <a:avLst/>
            <a:gdLst>
              <a:gd name="connsiteX0" fmla="*/ 0 w 6024154"/>
              <a:gd name="connsiteY0" fmla="*/ 0 h 6858000"/>
              <a:gd name="connsiteX1" fmla="*/ 5953780 w 6024154"/>
              <a:gd name="connsiteY1" fmla="*/ 0 h 6858000"/>
              <a:gd name="connsiteX2" fmla="*/ 5989880 w 6024154"/>
              <a:gd name="connsiteY2" fmla="*/ 284091 h 6858000"/>
              <a:gd name="connsiteX3" fmla="*/ 6024154 w 6024154"/>
              <a:gd name="connsiteY3" fmla="*/ 962844 h 6858000"/>
              <a:gd name="connsiteX4" fmla="*/ 2549934 w 6024154"/>
              <a:gd name="connsiteY4" fmla="*/ 6800152 h 6858000"/>
              <a:gd name="connsiteX5" fmla="*/ 2436987 w 6024154"/>
              <a:gd name="connsiteY5" fmla="*/ 6858000 h 6858000"/>
              <a:gd name="connsiteX6" fmla="*/ 0 w 6024154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4154" h="6858000">
                <a:moveTo>
                  <a:pt x="0" y="0"/>
                </a:moveTo>
                <a:lnTo>
                  <a:pt x="5953780" y="0"/>
                </a:lnTo>
                <a:lnTo>
                  <a:pt x="5989880" y="284091"/>
                </a:lnTo>
                <a:cubicBezTo>
                  <a:pt x="6012544" y="507260"/>
                  <a:pt x="6024154" y="733696"/>
                  <a:pt x="6024154" y="962844"/>
                </a:cubicBezTo>
                <a:cubicBezTo>
                  <a:pt x="6024154" y="3483472"/>
                  <a:pt x="4619336" y="5675986"/>
                  <a:pt x="2549934" y="6800152"/>
                </a:cubicBezTo>
                <a:lnTo>
                  <a:pt x="24369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6D4AFD3-23FB-4655-AD72-9EDF9F4AC7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14600"/>
            <a:ext cx="4014516" cy="1425153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6"/>
          <p:cNvSpPr>
            <a:spLocks noChangeArrowheads="1"/>
          </p:cNvSpPr>
          <p:nvPr/>
        </p:nvSpPr>
        <p:spPr bwMode="auto">
          <a:xfrm>
            <a:off x="0" y="0"/>
            <a:ext cx="9144000" cy="738188"/>
          </a:xfrm>
          <a:prstGeom prst="rect">
            <a:avLst/>
          </a:prstGeom>
          <a:solidFill>
            <a:srgbClr val="D76C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31863"/>
            <a:endParaRPr lang="en-US" sz="1400" b="1">
              <a:latin typeface="Arial" charset="0"/>
            </a:endParaRPr>
          </a:p>
        </p:txBody>
      </p:sp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122238" y="234950"/>
            <a:ext cx="7951787" cy="334963"/>
          </a:xfrm>
        </p:spPr>
        <p:txBody>
          <a:bodyPr lIns="93296" tIns="46648" rIns="93296" bIns="46648"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</a:rPr>
              <a:t>Questions / Feedback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1331453" y="3151981"/>
            <a:ext cx="2798762" cy="454025"/>
          </a:xfrm>
          <a:prstGeom prst="rect">
            <a:avLst/>
          </a:prstGeom>
        </p:spPr>
        <p:txBody>
          <a:bodyPr lIns="93296" tIns="46648" rIns="93296" bIns="46648"/>
          <a:lstStyle/>
          <a:p>
            <a:pPr marL="349861" indent="-349861" defTabSz="913526" eaLnBrk="0" fontAlgn="auto" hangingPunc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en-US" sz="3200" kern="0" dirty="0">
                <a:latin typeface="Arial" pitchFamily="34" charset="0"/>
                <a:ea typeface="Tahoma" pitchFamily="34" charset="0"/>
                <a:cs typeface="Arial" pitchFamily="34" charset="0"/>
              </a:rPr>
              <a:t>Thank You</a:t>
            </a:r>
            <a:r>
              <a:rPr lang="en-US" sz="2900" kern="0" dirty="0">
                <a:latin typeface="Tahoma" pitchFamily="34" charset="0"/>
                <a:ea typeface="Tahoma" pitchFamily="34" charset="0"/>
                <a:cs typeface="Tahoma" pitchFamily="34" charset="0"/>
              </a:rPr>
              <a:t>!</a:t>
            </a:r>
          </a:p>
        </p:txBody>
      </p:sp>
      <p:cxnSp>
        <p:nvCxnSpPr>
          <p:cNvPr id="62469" name="Straight Connector 5"/>
          <p:cNvCxnSpPr>
            <a:cxnSpLocks noChangeShapeType="1"/>
          </p:cNvCxnSpPr>
          <p:nvPr/>
        </p:nvCxnSpPr>
        <p:spPr bwMode="auto">
          <a:xfrm>
            <a:off x="0" y="738188"/>
            <a:ext cx="9144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62470" name="Group 10"/>
          <p:cNvGrpSpPr>
            <a:grpSpLocks/>
          </p:cNvGrpSpPr>
          <p:nvPr/>
        </p:nvGrpSpPr>
        <p:grpSpPr bwMode="auto">
          <a:xfrm>
            <a:off x="5105399" y="2695575"/>
            <a:ext cx="3319463" cy="1065653"/>
            <a:chOff x="5002819" y="2641600"/>
            <a:chExt cx="3253835" cy="1044291"/>
          </a:xfrm>
        </p:grpSpPr>
        <p:sp>
          <p:nvSpPr>
            <p:cNvPr id="62473" name="TextBox 7"/>
            <p:cNvSpPr txBox="1">
              <a:spLocks noChangeArrowheads="1"/>
            </p:cNvSpPr>
            <p:nvPr/>
          </p:nvSpPr>
          <p:spPr bwMode="auto">
            <a:xfrm>
              <a:off x="5194300" y="2641600"/>
              <a:ext cx="181079" cy="633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/>
              <a:endParaRPr lang="en-US" dirty="0">
                <a:latin typeface="Arial" charset="0"/>
              </a:endParaRPr>
            </a:p>
            <a:p>
              <a:pPr eaLnBrk="1" hangingPunct="1"/>
              <a:endParaRPr lang="en-US" dirty="0">
                <a:latin typeface="Arial" charset="0"/>
              </a:endParaRPr>
            </a:p>
          </p:txBody>
        </p:sp>
        <p:cxnSp>
          <p:nvCxnSpPr>
            <p:cNvPr id="62474" name="Straight Connector 9"/>
            <p:cNvCxnSpPr>
              <a:cxnSpLocks noChangeShapeType="1"/>
            </p:cNvCxnSpPr>
            <p:nvPr/>
          </p:nvCxnSpPr>
          <p:spPr bwMode="auto">
            <a:xfrm>
              <a:off x="5002819" y="3685891"/>
              <a:ext cx="3253835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 sz="800" dirty="0"/>
              <a:t>Created by: Rajkumar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LogisticsNow</a:t>
            </a:r>
            <a:r>
              <a:rPr lang="en-US" dirty="0"/>
              <a:t> Confidentia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C9A4FD2-C72E-4E3A-9032-64DD3C19C0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4927" y="2746599"/>
            <a:ext cx="3353840" cy="1190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4550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bBvXDaak6xgHuHKtRel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17</Words>
  <Application>Microsoft Office PowerPoint</Application>
  <PresentationFormat>On-screen Show (4:3)</PresentationFormat>
  <Paragraphs>7</Paragraphs>
  <Slides>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Tahoma</vt:lpstr>
      <vt:lpstr>Office Theme</vt:lpstr>
      <vt:lpstr>PowerPoint Presentation</vt:lpstr>
      <vt:lpstr>Questions / Feedbac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shan Tripathi</dc:creator>
  <cp:lastModifiedBy>Raj Kumar</cp:lastModifiedBy>
  <cp:revision>7</cp:revision>
  <dcterms:created xsi:type="dcterms:W3CDTF">2019-04-24T04:01:09Z</dcterms:created>
  <dcterms:modified xsi:type="dcterms:W3CDTF">2019-08-20T04:16:55Z</dcterms:modified>
</cp:coreProperties>
</file>